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-1476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80D64D-C02D-4B10-9636-321EDDA38CB4}" type="datetimeFigureOut">
              <a:rPr lang="fr-FR" smtClean="0"/>
              <a:t>13/04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4D36B-613E-4412-A09E-A0B677A5BA3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8362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PDE</a:t>
            </a:r>
            <a:endParaRPr lang="en-US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24/01/2014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099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6.emf"/><Relationship Id="rId18" Type="http://schemas.openxmlformats.org/officeDocument/2006/relationships/image" Target="../media/image11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10.emf"/><Relationship Id="rId2" Type="http://schemas.openxmlformats.org/officeDocument/2006/relationships/tags" Target="../tags/tag3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image" Target="../media/image1.jpeg"/><Relationship Id="rId5" Type="http://schemas.openxmlformats.org/officeDocument/2006/relationships/tags" Target="../tags/tag6.xml"/><Relationship Id="rId15" Type="http://schemas.openxmlformats.org/officeDocument/2006/relationships/image" Target="../media/image8.emf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800" b="1" dirty="0">
                <a:solidFill>
                  <a:srgbClr val="FFFFFF"/>
                </a:solidFill>
                <a:latin typeface="Arial" charset="0"/>
              </a:rPr>
              <a:t>DES ALLIAGES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800" b="1" dirty="0">
                <a:solidFill>
                  <a:srgbClr val="FFFFFF"/>
                </a:solidFill>
                <a:latin typeface="Arial" charset="0"/>
              </a:rPr>
              <a:t>DES MINERAIS ET DES HOMMES.</a:t>
            </a:r>
          </a:p>
        </p:txBody>
      </p:sp>
      <p:grpSp>
        <p:nvGrpSpPr>
          <p:cNvPr id="6" name="Group 33"/>
          <p:cNvGrpSpPr>
            <a:grpSpLocks/>
          </p:cNvGrpSpPr>
          <p:nvPr userDrawn="1"/>
        </p:nvGrpSpPr>
        <p:grpSpPr bwMode="auto">
          <a:xfrm rot="944328">
            <a:off x="31750" y="368300"/>
            <a:ext cx="1371600" cy="360363"/>
            <a:chOff x="2160" y="3744"/>
            <a:chExt cx="2160" cy="568"/>
          </a:xfrm>
        </p:grpSpPr>
        <p:sp>
          <p:nvSpPr>
            <p:cNvPr id="7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sp>
        <p:nvSpPr>
          <p:cNvPr id="9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pic>
        <p:nvPicPr>
          <p:cNvPr id="3074" name="Picture 2" descr="C:\Users\raymond.allier\Documents\Data\Elaboration Ancizes\Projet PAMCHR\PHOTOS\2015 04 02 Photo RETECH torche plasma sur métal IMG_0521.jpg"/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03" t="5077" r="47401" b="30932"/>
          <a:stretch/>
        </p:blipFill>
        <p:spPr bwMode="auto">
          <a:xfrm>
            <a:off x="-1" y="170942"/>
            <a:ext cx="2241763" cy="284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2455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F7E2F-01F2-4803-94EB-C10C714ACD3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9350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412B71-7EBF-422C-8789-FD586FA5FFE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096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C9E987-9371-41A0-AB78-45D0BF2BA80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459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61CE5-86FC-42E7-B10F-C29B0EB31135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046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0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3" descr="IMG_1105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rganigramme : Document 9"/>
          <p:cNvSpPr/>
          <p:nvPr userDrawn="1">
            <p:custDataLst>
              <p:tags r:id="rId9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grpSp>
        <p:nvGrpSpPr>
          <p:cNvPr id="12" name="Group 33"/>
          <p:cNvGrpSpPr>
            <a:grpSpLocks/>
          </p:cNvGrpSpPr>
          <p:nvPr userDrawn="1"/>
        </p:nvGrpSpPr>
        <p:grpSpPr bwMode="auto">
          <a:xfrm rot="944328">
            <a:off x="31750" y="295275"/>
            <a:ext cx="1371600" cy="360363"/>
            <a:chOff x="2160" y="3744"/>
            <a:chExt cx="2160" cy="568"/>
          </a:xfrm>
        </p:grpSpPr>
        <p:sp>
          <p:nvSpPr>
            <p:cNvPr id="13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sp>
        <p:nvSpPr>
          <p:cNvPr id="1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D54FF363-75FE-4103-8A69-7F74BF1D844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01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95180-6F8E-48F8-A11E-87C9E06A45B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6870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66C4D-5745-4EB0-AE71-D5729D1553C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52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03F73-14F8-4804-93D4-4E7A0FE0BE1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995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0C99C-E337-418B-885C-26B5AF159BB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063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1A5BAB-A0AE-4314-86D2-FD951779A2C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3682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2C47D-EE01-4B35-A03B-671766534C32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529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 smtClean="0">
                <a:solidFill>
                  <a:srgbClr val="000000"/>
                </a:solidFill>
              </a:rPr>
              <a:t>7 janvier 2015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028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9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0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60363" y="439738"/>
            <a:ext cx="822960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32" name="Text Box 9"/>
          <p:cNvSpPr txBox="1">
            <a:spLocks noChangeArrowheads="1"/>
          </p:cNvSpPr>
          <p:nvPr userDrawn="1"/>
        </p:nvSpPr>
        <p:spPr bwMode="auto">
          <a:xfrm>
            <a:off x="8361363" y="6308725"/>
            <a:ext cx="458787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2E9C068-6380-4B61-AE4B-0BB51AE15BA4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1033" name="Group 33"/>
          <p:cNvGrpSpPr>
            <a:grpSpLocks/>
          </p:cNvGrpSpPr>
          <p:nvPr userDrawn="1"/>
        </p:nvGrpSpPr>
        <p:grpSpPr bwMode="auto">
          <a:xfrm rot="944328">
            <a:off x="31750" y="152400"/>
            <a:ext cx="1371600" cy="360363"/>
            <a:chOff x="2160" y="3744"/>
            <a:chExt cx="2160" cy="568"/>
          </a:xfrm>
        </p:grpSpPr>
        <p:sp>
          <p:nvSpPr>
            <p:cNvPr id="1035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6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 dirty="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4174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/>
        </p:nvGrpSpPr>
        <p:grpSpPr>
          <a:xfrm>
            <a:off x="75891" y="993926"/>
            <a:ext cx="8960605" cy="5747442"/>
            <a:chOff x="75891" y="765175"/>
            <a:chExt cx="9320522" cy="5827713"/>
          </a:xfrm>
        </p:grpSpPr>
        <p:pic>
          <p:nvPicPr>
            <p:cNvPr id="17410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91" y="1017588"/>
              <a:ext cx="9088438" cy="55753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440" name="Text Box 32"/>
            <p:cNvSpPr txBox="1">
              <a:spLocks noChangeArrowheads="1"/>
            </p:cNvSpPr>
            <p:nvPr/>
          </p:nvSpPr>
          <p:spPr bwMode="auto">
            <a:xfrm>
              <a:off x="971600" y="2060575"/>
              <a:ext cx="1439813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fr-FR" b="1" dirty="0">
                  <a:solidFill>
                    <a:srgbClr val="CC3300"/>
                  </a:solidFill>
                </a:rPr>
                <a:t>- 27 383 t</a:t>
              </a:r>
            </a:p>
          </p:txBody>
        </p:sp>
        <p:sp>
          <p:nvSpPr>
            <p:cNvPr id="17441" name="Text Box 33"/>
            <p:cNvSpPr txBox="1">
              <a:spLocks noChangeArrowheads="1"/>
            </p:cNvSpPr>
            <p:nvPr/>
          </p:nvSpPr>
          <p:spPr bwMode="auto">
            <a:xfrm>
              <a:off x="1477963" y="1838325"/>
              <a:ext cx="93345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fr-FR" sz="1400" b="1" dirty="0">
                  <a:solidFill>
                    <a:srgbClr val="CC00CC"/>
                  </a:solidFill>
                </a:rPr>
                <a:t>28 899 t</a:t>
              </a:r>
            </a:p>
          </p:txBody>
        </p:sp>
        <p:sp>
          <p:nvSpPr>
            <p:cNvPr id="17444" name="Text Box 36"/>
            <p:cNvSpPr txBox="1">
              <a:spLocks noChangeArrowheads="1"/>
            </p:cNvSpPr>
            <p:nvPr/>
          </p:nvSpPr>
          <p:spPr bwMode="auto">
            <a:xfrm rot="180294">
              <a:off x="1692275" y="1252538"/>
              <a:ext cx="795338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fr-FR" sz="1400" b="1" dirty="0">
                  <a:solidFill>
                    <a:srgbClr val="CC00CC"/>
                  </a:solidFill>
                </a:rPr>
                <a:t>1 993 t</a:t>
              </a:r>
            </a:p>
          </p:txBody>
        </p:sp>
        <p:sp>
          <p:nvSpPr>
            <p:cNvPr id="17445" name="Text Box 37"/>
            <p:cNvSpPr txBox="1">
              <a:spLocks noChangeArrowheads="1"/>
            </p:cNvSpPr>
            <p:nvPr/>
          </p:nvSpPr>
          <p:spPr bwMode="auto">
            <a:xfrm>
              <a:off x="1763713" y="1412875"/>
              <a:ext cx="936625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fr-FR" sz="1400" b="1" dirty="0">
                  <a:solidFill>
                    <a:srgbClr val="CC3300"/>
                  </a:solidFill>
                </a:rPr>
                <a:t>- 429 t</a:t>
              </a:r>
            </a:p>
          </p:txBody>
        </p:sp>
        <p:grpSp>
          <p:nvGrpSpPr>
            <p:cNvPr id="4" name="Groupe 3"/>
            <p:cNvGrpSpPr/>
            <p:nvPr/>
          </p:nvGrpSpPr>
          <p:grpSpPr>
            <a:xfrm>
              <a:off x="2232025" y="765175"/>
              <a:ext cx="7164388" cy="3482975"/>
              <a:chOff x="2232025" y="765175"/>
              <a:chExt cx="7164388" cy="3482975"/>
            </a:xfrm>
          </p:grpSpPr>
          <p:sp>
            <p:nvSpPr>
              <p:cNvPr id="17420" name="Text Box 12"/>
              <p:cNvSpPr txBox="1">
                <a:spLocks noChangeArrowheads="1"/>
              </p:cNvSpPr>
              <p:nvPr/>
            </p:nvSpPr>
            <p:spPr bwMode="auto">
              <a:xfrm rot="180294">
                <a:off x="4640263" y="3340100"/>
                <a:ext cx="795337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00CC"/>
                    </a:solidFill>
                  </a:rPr>
                  <a:t>219 t</a:t>
                </a:r>
              </a:p>
            </p:txBody>
          </p:sp>
          <p:sp>
            <p:nvSpPr>
              <p:cNvPr id="17421" name="Text Box 13"/>
              <p:cNvSpPr txBox="1">
                <a:spLocks noChangeArrowheads="1"/>
              </p:cNvSpPr>
              <p:nvPr/>
            </p:nvSpPr>
            <p:spPr bwMode="auto">
              <a:xfrm>
                <a:off x="4932363" y="2908300"/>
                <a:ext cx="719137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3300"/>
                    </a:solidFill>
                  </a:rPr>
                  <a:t>- 631 t</a:t>
                </a:r>
              </a:p>
            </p:txBody>
          </p:sp>
          <p:sp>
            <p:nvSpPr>
              <p:cNvPr id="17425" name="Text Box 17"/>
              <p:cNvSpPr txBox="1">
                <a:spLocks noChangeArrowheads="1"/>
              </p:cNvSpPr>
              <p:nvPr/>
            </p:nvSpPr>
            <p:spPr bwMode="auto">
              <a:xfrm>
                <a:off x="2700338" y="3500438"/>
                <a:ext cx="647700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3300"/>
                    </a:solidFill>
                  </a:rPr>
                  <a:t>- 22 t</a:t>
                </a:r>
              </a:p>
            </p:txBody>
          </p:sp>
          <p:sp>
            <p:nvSpPr>
              <p:cNvPr id="17427" name="Text Box 19"/>
              <p:cNvSpPr txBox="1">
                <a:spLocks noChangeArrowheads="1"/>
              </p:cNvSpPr>
              <p:nvPr/>
            </p:nvSpPr>
            <p:spPr bwMode="auto">
              <a:xfrm>
                <a:off x="7085013" y="3943350"/>
                <a:ext cx="1952625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00CC"/>
                    </a:solidFill>
                  </a:rPr>
                  <a:t>77 t </a:t>
                </a:r>
                <a:r>
                  <a:rPr lang="fr-FR" sz="1000" b="1" dirty="0">
                    <a:solidFill>
                      <a:srgbClr val="CC00CC"/>
                    </a:solidFill>
                  </a:rPr>
                  <a:t>(Océanie + Australie)</a:t>
                </a:r>
                <a:endParaRPr lang="fr-FR" sz="1400" b="1" dirty="0">
                  <a:solidFill>
                    <a:srgbClr val="CC00CC"/>
                  </a:solidFill>
                </a:endParaRPr>
              </a:p>
            </p:txBody>
          </p:sp>
          <p:sp>
            <p:nvSpPr>
              <p:cNvPr id="17429" name="Text Box 21"/>
              <p:cNvSpPr txBox="1">
                <a:spLocks noChangeArrowheads="1"/>
              </p:cNvSpPr>
              <p:nvPr/>
            </p:nvSpPr>
            <p:spPr bwMode="auto">
              <a:xfrm>
                <a:off x="7235825" y="3716338"/>
                <a:ext cx="2160588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3300"/>
                    </a:solidFill>
                  </a:rPr>
                  <a:t>- 31 t </a:t>
                </a:r>
                <a:r>
                  <a:rPr lang="fr-FR" sz="1000" b="1" dirty="0">
                    <a:solidFill>
                      <a:srgbClr val="CC3300"/>
                    </a:solidFill>
                  </a:rPr>
                  <a:t>(Océanie + Australie)</a:t>
                </a:r>
                <a:endParaRPr lang="fr-FR" sz="1400" b="1" dirty="0">
                  <a:solidFill>
                    <a:srgbClr val="CC3300"/>
                  </a:solidFill>
                </a:endParaRPr>
              </a:p>
            </p:txBody>
          </p:sp>
          <p:sp>
            <p:nvSpPr>
              <p:cNvPr id="17431" name="Text Box 23"/>
              <p:cNvSpPr txBox="1">
                <a:spLocks noChangeArrowheads="1"/>
              </p:cNvSpPr>
              <p:nvPr/>
            </p:nvSpPr>
            <p:spPr bwMode="auto">
              <a:xfrm rot="180294">
                <a:off x="6156325" y="2133600"/>
                <a:ext cx="795338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00CC"/>
                    </a:solidFill>
                  </a:rPr>
                  <a:t>9 101 t</a:t>
                </a:r>
              </a:p>
            </p:txBody>
          </p:sp>
          <p:sp>
            <p:nvSpPr>
              <p:cNvPr id="17433" name="Text Box 25"/>
              <p:cNvSpPr txBox="1">
                <a:spLocks noChangeArrowheads="1"/>
              </p:cNvSpPr>
              <p:nvPr/>
            </p:nvSpPr>
            <p:spPr bwMode="auto">
              <a:xfrm>
                <a:off x="6227763" y="1900238"/>
                <a:ext cx="865187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3300"/>
                    </a:solidFill>
                  </a:rPr>
                  <a:t>- 2 209 t</a:t>
                </a:r>
              </a:p>
            </p:txBody>
          </p:sp>
          <p:sp>
            <p:nvSpPr>
              <p:cNvPr id="17436" name="Text Box 28"/>
              <p:cNvSpPr txBox="1">
                <a:spLocks noChangeArrowheads="1"/>
              </p:cNvSpPr>
              <p:nvPr/>
            </p:nvSpPr>
            <p:spPr bwMode="auto">
              <a:xfrm>
                <a:off x="6149975" y="1436688"/>
                <a:ext cx="1879600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00CC"/>
                    </a:solidFill>
                  </a:rPr>
                  <a:t>2 521 t </a:t>
                </a:r>
                <a:r>
                  <a:rPr lang="fr-FR" sz="1000" b="1" dirty="0">
                    <a:solidFill>
                      <a:srgbClr val="CC00CC"/>
                    </a:solidFill>
                  </a:rPr>
                  <a:t>(CEI + Russie)</a:t>
                </a:r>
                <a:endParaRPr lang="fr-FR" sz="1400" b="1" dirty="0">
                  <a:solidFill>
                    <a:srgbClr val="CC00CC"/>
                  </a:solidFill>
                </a:endParaRPr>
              </a:p>
            </p:txBody>
          </p:sp>
          <p:sp>
            <p:nvSpPr>
              <p:cNvPr id="17437" name="Text Box 29"/>
              <p:cNvSpPr txBox="1">
                <a:spLocks noChangeArrowheads="1"/>
              </p:cNvSpPr>
              <p:nvPr/>
            </p:nvSpPr>
            <p:spPr bwMode="auto">
              <a:xfrm>
                <a:off x="6011863" y="1196975"/>
                <a:ext cx="2232025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3300"/>
                    </a:solidFill>
                  </a:rPr>
                  <a:t>- 9 229 t </a:t>
                </a:r>
                <a:r>
                  <a:rPr lang="fr-FR" sz="1000" b="1" dirty="0">
                    <a:solidFill>
                      <a:srgbClr val="CC3300"/>
                    </a:solidFill>
                  </a:rPr>
                  <a:t>(CEI + Russie)</a:t>
                </a:r>
              </a:p>
            </p:txBody>
          </p:sp>
          <p:sp>
            <p:nvSpPr>
              <p:cNvPr id="17450" name="AutoShape 42"/>
              <p:cNvSpPr>
                <a:spLocks/>
              </p:cNvSpPr>
              <p:nvPr/>
            </p:nvSpPr>
            <p:spPr bwMode="auto">
              <a:xfrm>
                <a:off x="6948488" y="1916113"/>
                <a:ext cx="287337" cy="504825"/>
              </a:xfrm>
              <a:prstGeom prst="rightBrace">
                <a:avLst>
                  <a:gd name="adj1" fmla="val 14641"/>
                  <a:gd name="adj2" fmla="val 50000"/>
                </a:avLst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17451" name="Text Box 43"/>
              <p:cNvSpPr txBox="1">
                <a:spLocks noChangeArrowheads="1"/>
              </p:cNvSpPr>
              <p:nvPr/>
            </p:nvSpPr>
            <p:spPr bwMode="auto">
              <a:xfrm>
                <a:off x="7164388" y="1700213"/>
                <a:ext cx="1979612" cy="8223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200" b="1" dirty="0">
                    <a:solidFill>
                      <a:srgbClr val="000000"/>
                    </a:solidFill>
                  </a:rPr>
                  <a:t>Total Asie dont :</a:t>
                </a:r>
                <a:br>
                  <a:rPr lang="fr-FR" sz="1200" b="1" dirty="0">
                    <a:solidFill>
                      <a:srgbClr val="000000"/>
                    </a:solidFill>
                  </a:rPr>
                </a:br>
                <a:r>
                  <a:rPr lang="fr-FR" sz="1200" b="1" dirty="0">
                    <a:solidFill>
                      <a:srgbClr val="000000"/>
                    </a:solidFill>
                  </a:rPr>
                  <a:t>- Chine (</a:t>
                </a:r>
                <a:r>
                  <a:rPr lang="fr-FR" sz="1200" b="1" dirty="0">
                    <a:solidFill>
                      <a:srgbClr val="CC00CC"/>
                    </a:solidFill>
                  </a:rPr>
                  <a:t>1 719 t</a:t>
                </a:r>
                <a:r>
                  <a:rPr lang="fr-FR" sz="1200" b="1" dirty="0">
                    <a:solidFill>
                      <a:srgbClr val="000000"/>
                    </a:solidFill>
                  </a:rPr>
                  <a:t> et </a:t>
                </a:r>
                <a:r>
                  <a:rPr lang="fr-FR" sz="1200" b="1" dirty="0">
                    <a:solidFill>
                      <a:srgbClr val="CC3300"/>
                    </a:solidFill>
                  </a:rPr>
                  <a:t>-414 t</a:t>
                </a:r>
                <a:r>
                  <a:rPr lang="fr-FR" sz="1200" b="1" dirty="0">
                    <a:solidFill>
                      <a:srgbClr val="000000"/>
                    </a:solidFill>
                  </a:rPr>
                  <a:t>)</a:t>
                </a:r>
                <a:br>
                  <a:rPr lang="fr-FR" sz="1200" b="1" dirty="0">
                    <a:solidFill>
                      <a:srgbClr val="000000"/>
                    </a:solidFill>
                  </a:rPr>
                </a:br>
                <a:r>
                  <a:rPr lang="fr-FR" sz="1200" b="1" dirty="0">
                    <a:solidFill>
                      <a:srgbClr val="000000"/>
                    </a:solidFill>
                  </a:rPr>
                  <a:t>- Japon (</a:t>
                </a:r>
                <a:r>
                  <a:rPr lang="fr-FR" sz="1200" b="1" dirty="0">
                    <a:solidFill>
                      <a:srgbClr val="CC00CC"/>
                    </a:solidFill>
                  </a:rPr>
                  <a:t>4 897 t</a:t>
                </a:r>
                <a:r>
                  <a:rPr lang="fr-FR" sz="1200" b="1" dirty="0">
                    <a:solidFill>
                      <a:srgbClr val="000000"/>
                    </a:solidFill>
                  </a:rPr>
                  <a:t> et </a:t>
                </a:r>
                <a:r>
                  <a:rPr lang="fr-FR" sz="1200" b="1" dirty="0">
                    <a:solidFill>
                      <a:srgbClr val="CC3300"/>
                    </a:solidFill>
                  </a:rPr>
                  <a:t>-510 t</a:t>
                </a:r>
                <a:r>
                  <a:rPr lang="fr-FR" sz="1200" b="1" dirty="0">
                    <a:solidFill>
                      <a:srgbClr val="000000"/>
                    </a:solidFill>
                  </a:rPr>
                  <a:t>)</a:t>
                </a:r>
                <a:br>
                  <a:rPr lang="fr-FR" sz="1200" b="1" dirty="0">
                    <a:solidFill>
                      <a:srgbClr val="000000"/>
                    </a:solidFill>
                  </a:rPr>
                </a:br>
                <a:r>
                  <a:rPr lang="fr-FR" sz="1200" b="1" dirty="0">
                    <a:solidFill>
                      <a:srgbClr val="000000"/>
                    </a:solidFill>
                  </a:rPr>
                  <a:t>- Inde (</a:t>
                </a:r>
                <a:r>
                  <a:rPr lang="fr-FR" sz="1200" b="1" dirty="0">
                    <a:solidFill>
                      <a:srgbClr val="CC00CC"/>
                    </a:solidFill>
                  </a:rPr>
                  <a:t>270 t</a:t>
                </a:r>
                <a:r>
                  <a:rPr lang="fr-FR" sz="1200" b="1" dirty="0">
                    <a:solidFill>
                      <a:srgbClr val="000000"/>
                    </a:solidFill>
                  </a:rPr>
                  <a:t> et </a:t>
                </a:r>
                <a:r>
                  <a:rPr lang="fr-FR" sz="1200" b="1" dirty="0">
                    <a:solidFill>
                      <a:srgbClr val="CC3300"/>
                    </a:solidFill>
                  </a:rPr>
                  <a:t>-3 t</a:t>
                </a:r>
                <a:r>
                  <a:rPr lang="fr-FR" sz="1200" b="1" dirty="0">
                    <a:solidFill>
                      <a:srgbClr val="000000"/>
                    </a:solidFill>
                  </a:rPr>
                  <a:t>)</a:t>
                </a:r>
              </a:p>
            </p:txBody>
          </p:sp>
          <p:grpSp>
            <p:nvGrpSpPr>
              <p:cNvPr id="3" name="Groupe 2"/>
              <p:cNvGrpSpPr/>
              <p:nvPr/>
            </p:nvGrpSpPr>
            <p:grpSpPr>
              <a:xfrm>
                <a:off x="2232025" y="981075"/>
                <a:ext cx="5076825" cy="3024188"/>
                <a:chOff x="2232025" y="981075"/>
                <a:chExt cx="5076825" cy="3024188"/>
              </a:xfrm>
            </p:grpSpPr>
            <p:sp>
              <p:nvSpPr>
                <p:cNvPr id="17411" name="Oval 3"/>
                <p:cNvSpPr>
                  <a:spLocks noChangeArrowheads="1"/>
                </p:cNvSpPr>
                <p:nvPr/>
              </p:nvSpPr>
              <p:spPr bwMode="auto">
                <a:xfrm>
                  <a:off x="3995738" y="1341438"/>
                  <a:ext cx="936625" cy="1008062"/>
                </a:xfrm>
                <a:prstGeom prst="ellipse">
                  <a:avLst/>
                </a:prstGeom>
                <a:noFill/>
                <a:ln w="38100">
                  <a:solidFill>
                    <a:schemeClr val="folHlink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13" name="Line 5"/>
                <p:cNvSpPr>
                  <a:spLocks noChangeShapeType="1"/>
                </p:cNvSpPr>
                <p:nvPr/>
              </p:nvSpPr>
              <p:spPr bwMode="auto">
                <a:xfrm>
                  <a:off x="4716463" y="2347913"/>
                  <a:ext cx="360362" cy="936625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14" name="Line 6"/>
                <p:cNvSpPr>
                  <a:spLocks noChangeShapeType="1"/>
                </p:cNvSpPr>
                <p:nvPr/>
              </p:nvSpPr>
              <p:spPr bwMode="auto">
                <a:xfrm flipH="1" flipV="1">
                  <a:off x="4500563" y="2349500"/>
                  <a:ext cx="431800" cy="1008063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22" name="Line 14"/>
                <p:cNvSpPr>
                  <a:spLocks noChangeShapeType="1"/>
                </p:cNvSpPr>
                <p:nvPr/>
              </p:nvSpPr>
              <p:spPr bwMode="auto">
                <a:xfrm flipV="1">
                  <a:off x="2843213" y="2205038"/>
                  <a:ext cx="1223962" cy="1152525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23" name="Line 15"/>
                <p:cNvSpPr>
                  <a:spLocks noChangeShapeType="1"/>
                </p:cNvSpPr>
                <p:nvPr/>
              </p:nvSpPr>
              <p:spPr bwMode="auto">
                <a:xfrm flipH="1">
                  <a:off x="2916238" y="2420938"/>
                  <a:ext cx="1223962" cy="1152525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26" name="Line 18"/>
                <p:cNvSpPr>
                  <a:spLocks noChangeShapeType="1"/>
                </p:cNvSpPr>
                <p:nvPr/>
              </p:nvSpPr>
              <p:spPr bwMode="auto">
                <a:xfrm flipH="1" flipV="1">
                  <a:off x="4787900" y="2276475"/>
                  <a:ext cx="2376488" cy="1728788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28" name="Line 20"/>
                <p:cNvSpPr>
                  <a:spLocks noChangeShapeType="1"/>
                </p:cNvSpPr>
                <p:nvPr/>
              </p:nvSpPr>
              <p:spPr bwMode="auto">
                <a:xfrm>
                  <a:off x="4932363" y="2276475"/>
                  <a:ext cx="2376487" cy="1657350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30" name="Line 22"/>
                <p:cNvSpPr>
                  <a:spLocks noChangeShapeType="1"/>
                </p:cNvSpPr>
                <p:nvPr/>
              </p:nvSpPr>
              <p:spPr bwMode="auto">
                <a:xfrm flipH="1" flipV="1">
                  <a:off x="5003800" y="1989138"/>
                  <a:ext cx="1152525" cy="215900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32" name="Line 24"/>
                <p:cNvSpPr>
                  <a:spLocks noChangeShapeType="1"/>
                </p:cNvSpPr>
                <p:nvPr/>
              </p:nvSpPr>
              <p:spPr bwMode="auto">
                <a:xfrm>
                  <a:off x="5076825" y="1844675"/>
                  <a:ext cx="1223963" cy="215900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34" name="Line 26"/>
                <p:cNvSpPr>
                  <a:spLocks noChangeShapeType="1"/>
                </p:cNvSpPr>
                <p:nvPr/>
              </p:nvSpPr>
              <p:spPr bwMode="auto">
                <a:xfrm flipV="1">
                  <a:off x="5003800" y="1412875"/>
                  <a:ext cx="1081088" cy="215900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35" name="Line 27"/>
                <p:cNvSpPr>
                  <a:spLocks noChangeShapeType="1"/>
                </p:cNvSpPr>
                <p:nvPr/>
              </p:nvSpPr>
              <p:spPr bwMode="auto">
                <a:xfrm flipH="1">
                  <a:off x="5076825" y="1484313"/>
                  <a:ext cx="1150938" cy="215900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38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2268538" y="1916113"/>
                  <a:ext cx="1654175" cy="144462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39" name="Line 31"/>
                <p:cNvSpPr>
                  <a:spLocks noChangeShapeType="1"/>
                </p:cNvSpPr>
                <p:nvPr/>
              </p:nvSpPr>
              <p:spPr bwMode="auto">
                <a:xfrm flipH="1">
                  <a:off x="2232025" y="2092428"/>
                  <a:ext cx="1763713" cy="144463"/>
                </a:xfrm>
                <a:prstGeom prst="line">
                  <a:avLst/>
                </a:prstGeom>
                <a:noFill/>
                <a:ln w="9525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42" name="Line 34"/>
                <p:cNvSpPr>
                  <a:spLocks noChangeShapeType="1"/>
                </p:cNvSpPr>
                <p:nvPr/>
              </p:nvSpPr>
              <p:spPr bwMode="auto">
                <a:xfrm flipH="1" flipV="1">
                  <a:off x="2411413" y="1557338"/>
                  <a:ext cx="1512887" cy="142875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43" name="Line 35"/>
                <p:cNvSpPr>
                  <a:spLocks noChangeShapeType="1"/>
                </p:cNvSpPr>
                <p:nvPr/>
              </p:nvSpPr>
              <p:spPr bwMode="auto">
                <a:xfrm>
                  <a:off x="2411413" y="1412875"/>
                  <a:ext cx="1584325" cy="144463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46" name="Line 38"/>
                <p:cNvSpPr>
                  <a:spLocks noChangeShapeType="1"/>
                </p:cNvSpPr>
                <p:nvPr/>
              </p:nvSpPr>
              <p:spPr bwMode="auto">
                <a:xfrm flipH="1" flipV="1">
                  <a:off x="4932363" y="2133600"/>
                  <a:ext cx="288925" cy="215900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47" name="Text Box 39"/>
                <p:cNvSpPr txBox="1">
                  <a:spLocks noChangeArrowheads="1"/>
                </p:cNvSpPr>
                <p:nvPr/>
              </p:nvSpPr>
              <p:spPr bwMode="auto">
                <a:xfrm rot="180294">
                  <a:off x="5138738" y="2260600"/>
                  <a:ext cx="657225" cy="3048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fontAlgn="base" hangingPunct="1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fr-FR" sz="1400" b="1" dirty="0">
                      <a:solidFill>
                        <a:srgbClr val="CC00CC"/>
                      </a:solidFill>
                    </a:rPr>
                    <a:t>413 t</a:t>
                  </a:r>
                </a:p>
              </p:txBody>
            </p:sp>
            <p:sp>
              <p:nvSpPr>
                <p:cNvPr id="17448" name="Line 40"/>
                <p:cNvSpPr>
                  <a:spLocks noChangeShapeType="1"/>
                </p:cNvSpPr>
                <p:nvPr/>
              </p:nvSpPr>
              <p:spPr bwMode="auto">
                <a:xfrm>
                  <a:off x="4932363" y="2060575"/>
                  <a:ext cx="431800" cy="215900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52" name="Line 44"/>
                <p:cNvSpPr>
                  <a:spLocks noChangeShapeType="1"/>
                </p:cNvSpPr>
                <p:nvPr/>
              </p:nvSpPr>
              <p:spPr bwMode="auto">
                <a:xfrm flipV="1">
                  <a:off x="4498975" y="981075"/>
                  <a:ext cx="360363" cy="287338"/>
                </a:xfrm>
                <a:prstGeom prst="line">
                  <a:avLst/>
                </a:prstGeom>
                <a:noFill/>
                <a:ln w="38100">
                  <a:solidFill>
                    <a:srgbClr val="CC33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17453" name="Line 45"/>
                <p:cNvSpPr>
                  <a:spLocks noChangeShapeType="1"/>
                </p:cNvSpPr>
                <p:nvPr/>
              </p:nvSpPr>
              <p:spPr bwMode="auto">
                <a:xfrm flipH="1">
                  <a:off x="4716463" y="1125538"/>
                  <a:ext cx="287337" cy="215900"/>
                </a:xfrm>
                <a:prstGeom prst="line">
                  <a:avLst/>
                </a:prstGeom>
                <a:noFill/>
                <a:ln w="38100">
                  <a:solidFill>
                    <a:srgbClr val="CC00CC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Arial" pitchFamily="34" charset="0"/>
                  </a:endParaRPr>
                </a:p>
              </p:txBody>
            </p:sp>
          </p:grpSp>
          <p:sp>
            <p:nvSpPr>
              <p:cNvPr id="17454" name="Text Box 46"/>
              <p:cNvSpPr txBox="1">
                <a:spLocks noChangeArrowheads="1"/>
              </p:cNvSpPr>
              <p:nvPr/>
            </p:nvSpPr>
            <p:spPr bwMode="auto">
              <a:xfrm>
                <a:off x="4716463" y="765175"/>
                <a:ext cx="2232025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3300"/>
                    </a:solidFill>
                  </a:rPr>
                  <a:t>- 190 t </a:t>
                </a:r>
                <a:r>
                  <a:rPr lang="fr-FR" sz="1000" b="1" dirty="0">
                    <a:solidFill>
                      <a:srgbClr val="CC3300"/>
                    </a:solidFill>
                  </a:rPr>
                  <a:t>(Europe hors UE)</a:t>
                </a:r>
              </a:p>
            </p:txBody>
          </p:sp>
          <p:sp>
            <p:nvSpPr>
              <p:cNvPr id="17455" name="Text Box 47"/>
              <p:cNvSpPr txBox="1">
                <a:spLocks noChangeArrowheads="1"/>
              </p:cNvSpPr>
              <p:nvPr/>
            </p:nvSpPr>
            <p:spPr bwMode="auto">
              <a:xfrm>
                <a:off x="4932363" y="981075"/>
                <a:ext cx="1879600" cy="304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fr-FR" sz="1400" b="1" dirty="0">
                    <a:solidFill>
                      <a:srgbClr val="CC00CC"/>
                    </a:solidFill>
                  </a:rPr>
                  <a:t>3 519 t </a:t>
                </a:r>
                <a:r>
                  <a:rPr lang="fr-FR" sz="1000" b="1" dirty="0">
                    <a:solidFill>
                      <a:srgbClr val="CC00CC"/>
                    </a:solidFill>
                  </a:rPr>
                  <a:t>(Europe hors UE)</a:t>
                </a:r>
                <a:endParaRPr lang="fr-FR" sz="1400" b="1" dirty="0">
                  <a:solidFill>
                    <a:srgbClr val="CC00CC"/>
                  </a:solidFill>
                </a:endParaRPr>
              </a:p>
            </p:txBody>
          </p:sp>
        </p:grpSp>
      </p:grpSp>
      <p:sp>
        <p:nvSpPr>
          <p:cNvPr id="17412" name="Text Box 4"/>
          <p:cNvSpPr txBox="1">
            <a:spLocks noChangeArrowheads="1"/>
          </p:cNvSpPr>
          <p:nvPr/>
        </p:nvSpPr>
        <p:spPr bwMode="auto">
          <a:xfrm rot="-1118507">
            <a:off x="3851275" y="1125538"/>
            <a:ext cx="8636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000" b="1" dirty="0">
                <a:solidFill>
                  <a:srgbClr val="99CC00"/>
                </a:solidFill>
              </a:rPr>
              <a:t>Europe</a:t>
            </a:r>
          </a:p>
        </p:txBody>
      </p:sp>
      <p:sp>
        <p:nvSpPr>
          <p:cNvPr id="17415" name="Text Box 7"/>
          <p:cNvSpPr txBox="1">
            <a:spLocks noChangeArrowheads="1"/>
          </p:cNvSpPr>
          <p:nvPr/>
        </p:nvSpPr>
        <p:spPr bwMode="auto">
          <a:xfrm>
            <a:off x="75498" y="653715"/>
            <a:ext cx="881658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000000"/>
                </a:solidFill>
              </a:rPr>
              <a:t>Import et Export </a:t>
            </a:r>
            <a:r>
              <a:rPr lang="fr-FR" sz="2000" b="1" dirty="0" smtClean="0">
                <a:solidFill>
                  <a:srgbClr val="000000"/>
                </a:solidFill>
              </a:rPr>
              <a:t>des </a:t>
            </a:r>
            <a:r>
              <a:rPr lang="fr-FR" sz="2000" b="1" dirty="0">
                <a:solidFill>
                  <a:srgbClr val="000000"/>
                </a:solidFill>
              </a:rPr>
              <a:t>chutes de </a:t>
            </a:r>
            <a:r>
              <a:rPr lang="fr-FR" sz="2000" b="1" dirty="0" smtClean="0">
                <a:solidFill>
                  <a:srgbClr val="000000"/>
                </a:solidFill>
              </a:rPr>
              <a:t>Titane depuis l’Europe de </a:t>
            </a:r>
            <a:r>
              <a:rPr lang="fr-FR" sz="2000" b="1" dirty="0">
                <a:solidFill>
                  <a:srgbClr val="000000"/>
                </a:solidFill>
              </a:rPr>
              <a:t>2005 à 2009</a:t>
            </a:r>
          </a:p>
        </p:txBody>
      </p:sp>
      <p:sp>
        <p:nvSpPr>
          <p:cNvPr id="17416" name="Line 8"/>
          <p:cNvSpPr>
            <a:spLocks noChangeShapeType="1"/>
          </p:cNvSpPr>
          <p:nvPr/>
        </p:nvSpPr>
        <p:spPr bwMode="auto">
          <a:xfrm>
            <a:off x="7308850" y="5888852"/>
            <a:ext cx="591715" cy="0"/>
          </a:xfrm>
          <a:prstGeom prst="line">
            <a:avLst/>
          </a:prstGeom>
          <a:noFill/>
          <a:ln w="38100">
            <a:solidFill>
              <a:srgbClr val="CC33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7417" name="Line 9"/>
          <p:cNvSpPr>
            <a:spLocks noChangeShapeType="1"/>
          </p:cNvSpPr>
          <p:nvPr/>
        </p:nvSpPr>
        <p:spPr bwMode="auto">
          <a:xfrm>
            <a:off x="7308850" y="6247627"/>
            <a:ext cx="591715" cy="0"/>
          </a:xfrm>
          <a:prstGeom prst="line">
            <a:avLst/>
          </a:prstGeom>
          <a:noFill/>
          <a:ln w="38100">
            <a:solidFill>
              <a:srgbClr val="CC00C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7418" name="Text Box 10"/>
          <p:cNvSpPr txBox="1">
            <a:spLocks noChangeArrowheads="1"/>
          </p:cNvSpPr>
          <p:nvPr/>
        </p:nvSpPr>
        <p:spPr bwMode="auto">
          <a:xfrm>
            <a:off x="7973590" y="5672952"/>
            <a:ext cx="115093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dirty="0">
                <a:solidFill>
                  <a:srgbClr val="CC3300"/>
                </a:solidFill>
              </a:rPr>
              <a:t>Export</a:t>
            </a:r>
          </a:p>
        </p:txBody>
      </p:sp>
      <p:sp>
        <p:nvSpPr>
          <p:cNvPr id="17419" name="Text Box 11"/>
          <p:cNvSpPr txBox="1">
            <a:spLocks noChangeArrowheads="1"/>
          </p:cNvSpPr>
          <p:nvPr/>
        </p:nvSpPr>
        <p:spPr bwMode="auto">
          <a:xfrm>
            <a:off x="7973590" y="6031727"/>
            <a:ext cx="115093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dirty="0">
                <a:solidFill>
                  <a:srgbClr val="CC00CC"/>
                </a:solidFill>
              </a:rPr>
              <a:t>Import</a:t>
            </a:r>
          </a:p>
        </p:txBody>
      </p:sp>
      <p:sp>
        <p:nvSpPr>
          <p:cNvPr id="17424" name="Text Box 16"/>
          <p:cNvSpPr txBox="1">
            <a:spLocks noChangeArrowheads="1"/>
          </p:cNvSpPr>
          <p:nvPr/>
        </p:nvSpPr>
        <p:spPr bwMode="auto">
          <a:xfrm rot="180294">
            <a:off x="2339975" y="3268663"/>
            <a:ext cx="7953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400" b="1" dirty="0">
                <a:solidFill>
                  <a:srgbClr val="CC00CC"/>
                </a:solidFill>
              </a:rPr>
              <a:t>156 t</a:t>
            </a:r>
          </a:p>
        </p:txBody>
      </p:sp>
      <p:sp>
        <p:nvSpPr>
          <p:cNvPr id="17449" name="Text Box 41"/>
          <p:cNvSpPr txBox="1">
            <a:spLocks noChangeArrowheads="1"/>
          </p:cNvSpPr>
          <p:nvPr/>
        </p:nvSpPr>
        <p:spPr bwMode="auto">
          <a:xfrm>
            <a:off x="5292725" y="2116138"/>
            <a:ext cx="7921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1400" b="1" dirty="0">
                <a:solidFill>
                  <a:srgbClr val="CC3300"/>
                </a:solidFill>
              </a:rPr>
              <a:t>- 52 t</a:t>
            </a:r>
          </a:p>
        </p:txBody>
      </p:sp>
      <p:sp>
        <p:nvSpPr>
          <p:cNvPr id="49" name="Text Box 48"/>
          <p:cNvSpPr txBox="1">
            <a:spLocks noChangeArrowheads="1"/>
          </p:cNvSpPr>
          <p:nvPr/>
        </p:nvSpPr>
        <p:spPr bwMode="auto">
          <a:xfrm>
            <a:off x="127296" y="4562337"/>
            <a:ext cx="6257677" cy="147732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fr-FR" dirty="0">
                <a:solidFill>
                  <a:srgbClr val="FF0000"/>
                </a:solidFill>
                <a:latin typeface="Arial" pitchFamily="34" charset="0"/>
              </a:rPr>
              <a:t>Les USA importent les chutes recyclables en </a:t>
            </a:r>
            <a:r>
              <a:rPr lang="fr-FR" dirty="0">
                <a:solidFill>
                  <a:srgbClr val="FF0000"/>
                </a:solidFill>
                <a:latin typeface="Arial" pitchFamily="34" charset="0"/>
              </a:rPr>
              <a:t>t</a:t>
            </a:r>
            <a:r>
              <a:rPr lang="fr-FR" dirty="0">
                <a:solidFill>
                  <a:srgbClr val="FF0000"/>
                </a:solidFill>
                <a:latin typeface="Arial" pitchFamily="34" charset="0"/>
              </a:rPr>
              <a:t>itane métal et exportent les chutes non recyclables. </a:t>
            </a:r>
          </a:p>
          <a:p>
            <a:pPr fontAlgn="base">
              <a:spcAft>
                <a:spcPct val="0"/>
              </a:spcAft>
            </a:pPr>
            <a:r>
              <a:rPr lang="fr-FR" dirty="0">
                <a:solidFill>
                  <a:srgbClr val="FF0000"/>
                </a:solidFill>
                <a:latin typeface="Arial" pitchFamily="34" charset="0"/>
              </a:rPr>
              <a:t>L’Europe est le plus gros fournisseur de chutes aux USA :</a:t>
            </a:r>
          </a:p>
          <a:p>
            <a:pPr fontAlgn="base">
              <a:spcAft>
                <a:spcPct val="0"/>
              </a:spcAft>
            </a:pPr>
            <a:r>
              <a:rPr lang="fr-FR" dirty="0">
                <a:solidFill>
                  <a:srgbClr val="FF0000"/>
                </a:solidFill>
                <a:latin typeface="Arial" pitchFamily="34" charset="0"/>
              </a:rPr>
              <a:t>5 500 tonnes/an en moyenne entre 2005 et 2009 </a:t>
            </a:r>
          </a:p>
          <a:p>
            <a:pPr fontAlgn="base">
              <a:spcAft>
                <a:spcPct val="0"/>
              </a:spcAft>
            </a:pPr>
            <a:r>
              <a:rPr lang="fr-FR" dirty="0">
                <a:solidFill>
                  <a:srgbClr val="FF0000"/>
                </a:solidFill>
                <a:latin typeface="Arial" pitchFamily="34" charset="0"/>
              </a:rPr>
              <a:t>9 500 tonnes en 2014 !</a:t>
            </a:r>
            <a:endParaRPr lang="fr-FR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6C9E987-9371-41A0-AB78-45D0BF2BA808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13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9</Words>
  <Application>Microsoft Office PowerPoint</Application>
  <PresentationFormat>Affichage à l'écran (4:3)</PresentationFormat>
  <Paragraphs>31</Paragraphs>
  <Slides>1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_Conception personnalisée</vt:lpstr>
      <vt:lpstr>think-cell Slide</vt:lpstr>
      <vt:lpstr>Présentation PowerPoint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k Delaborde</dc:creator>
  <cp:lastModifiedBy>Patrick Delaborde</cp:lastModifiedBy>
  <cp:revision>2</cp:revision>
  <dcterms:created xsi:type="dcterms:W3CDTF">2016-04-13T08:29:51Z</dcterms:created>
  <dcterms:modified xsi:type="dcterms:W3CDTF">2016-04-13T08:31:37Z</dcterms:modified>
</cp:coreProperties>
</file>